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2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B6199-FBF9-6179-8F97-13268BCC6F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DCD907C-9629-59D4-EA02-B8A15663B8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CD907C-9629-59D4-EA02-B8A15663B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BFA9BA-05A3-F263-918D-A2ED7F9F2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8AE951C-F37F-CDE5-F183-7957398FD81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8" name="Arrow: Up 6">
            <a:extLst>
              <a:ext uri="{FF2B5EF4-FFF2-40B4-BE49-F238E27FC236}">
                <a16:creationId xmlns:a16="http://schemas.microsoft.com/office/drawing/2014/main" id="{AD685E5F-88A1-5F6E-085A-99CE385D3B69}"/>
              </a:ext>
            </a:extLst>
          </p:cNvPr>
          <p:cNvSpPr/>
          <p:nvPr/>
        </p:nvSpPr>
        <p:spPr>
          <a:xfrm rot="2732579" flipH="1">
            <a:off x="6849915" y="1514156"/>
            <a:ext cx="2807517" cy="2476331"/>
          </a:xfrm>
          <a:prstGeom prst="upArrow">
            <a:avLst>
              <a:gd name="adj1" fmla="val 68657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3CF69EF-8FD6-AD6D-DEA2-AD281D791854}"/>
              </a:ext>
            </a:extLst>
          </p:cNvPr>
          <p:cNvGrpSpPr/>
          <p:nvPr/>
        </p:nvGrpSpPr>
        <p:grpSpPr>
          <a:xfrm>
            <a:off x="717925" y="1247812"/>
            <a:ext cx="11044537" cy="4537863"/>
            <a:chOff x="700646" y="1525604"/>
            <a:chExt cx="11044537" cy="4537863"/>
          </a:xfrm>
        </p:grpSpPr>
        <p:sp>
          <p:nvSpPr>
            <p:cNvPr id="40" name="Freeform: Shape 12">
              <a:extLst>
                <a:ext uri="{FF2B5EF4-FFF2-40B4-BE49-F238E27FC236}">
                  <a16:creationId xmlns:a16="http://schemas.microsoft.com/office/drawing/2014/main" id="{FA02C344-C788-E7EE-4370-EDCED44C1758}"/>
                </a:ext>
              </a:extLst>
            </p:cNvPr>
            <p:cNvSpPr/>
            <p:nvPr/>
          </p:nvSpPr>
          <p:spPr>
            <a:xfrm rot="2732579" flipH="1">
              <a:off x="5552438" y="3735144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1" name="Freeform: Shape 13">
              <a:extLst>
                <a:ext uri="{FF2B5EF4-FFF2-40B4-BE49-F238E27FC236}">
                  <a16:creationId xmlns:a16="http://schemas.microsoft.com/office/drawing/2014/main" id="{E83CEA45-6C48-AA66-4451-18AC7A53486A}"/>
                </a:ext>
              </a:extLst>
            </p:cNvPr>
            <p:cNvSpPr/>
            <p:nvPr/>
          </p:nvSpPr>
          <p:spPr>
            <a:xfrm rot="13532579" flipH="1">
              <a:off x="4039000" y="2192746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2" name="Freeform: Shape 14">
              <a:extLst>
                <a:ext uri="{FF2B5EF4-FFF2-40B4-BE49-F238E27FC236}">
                  <a16:creationId xmlns:a16="http://schemas.microsoft.com/office/drawing/2014/main" id="{32EFD765-6391-62B1-3FC4-DD1409B5C4B8}"/>
                </a:ext>
              </a:extLst>
            </p:cNvPr>
            <p:cNvSpPr/>
            <p:nvPr/>
          </p:nvSpPr>
          <p:spPr>
            <a:xfrm rot="2732579" flipH="1">
              <a:off x="2519305" y="3683905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3" name="Freeform: Shape 15">
              <a:extLst>
                <a:ext uri="{FF2B5EF4-FFF2-40B4-BE49-F238E27FC236}">
                  <a16:creationId xmlns:a16="http://schemas.microsoft.com/office/drawing/2014/main" id="{09C3FB36-82B6-2EFD-04DC-69CA2ABB0873}"/>
                </a:ext>
              </a:extLst>
            </p:cNvPr>
            <p:cNvSpPr/>
            <p:nvPr/>
          </p:nvSpPr>
          <p:spPr>
            <a:xfrm rot="13532579" flipH="1">
              <a:off x="1005868" y="2141507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4" name="Shape1_20180321_155333">
              <a:extLst>
                <a:ext uri="{FF2B5EF4-FFF2-40B4-BE49-F238E27FC236}">
                  <a16:creationId xmlns:a16="http://schemas.microsoft.com/office/drawing/2014/main" id="{FCF45B35-42A7-AEE0-7705-F4BE7F8FAD5D}"/>
                </a:ext>
              </a:extLst>
            </p:cNvPr>
            <p:cNvSpPr txBox="1">
              <a:spLocks/>
            </p:cNvSpPr>
            <p:nvPr/>
          </p:nvSpPr>
          <p:spPr>
            <a:xfrm>
              <a:off x="700646" y="1525604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1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5" name="Shape2_20180321_155333">
              <a:extLst>
                <a:ext uri="{FF2B5EF4-FFF2-40B4-BE49-F238E27FC236}">
                  <a16:creationId xmlns:a16="http://schemas.microsoft.com/office/drawing/2014/main" id="{959F0AEB-109A-C4A0-3206-D49A01A972EF}"/>
                </a:ext>
              </a:extLst>
            </p:cNvPr>
            <p:cNvSpPr txBox="1">
              <a:spLocks/>
            </p:cNvSpPr>
            <p:nvPr/>
          </p:nvSpPr>
          <p:spPr>
            <a:xfrm>
              <a:off x="3733778" y="1540383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3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6" name="Shape3_20180321_155333">
              <a:extLst>
                <a:ext uri="{FF2B5EF4-FFF2-40B4-BE49-F238E27FC236}">
                  <a16:creationId xmlns:a16="http://schemas.microsoft.com/office/drawing/2014/main" id="{60E05387-39F9-CCFA-77E5-5F78773DF2D3}"/>
                </a:ext>
              </a:extLst>
            </p:cNvPr>
            <p:cNvSpPr txBox="1">
              <a:spLocks/>
            </p:cNvSpPr>
            <p:nvPr/>
          </p:nvSpPr>
          <p:spPr>
            <a:xfrm>
              <a:off x="5247216" y="5356432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4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7" name="Shape4_20180321_155333">
              <a:extLst>
                <a:ext uri="{FF2B5EF4-FFF2-40B4-BE49-F238E27FC236}">
                  <a16:creationId xmlns:a16="http://schemas.microsoft.com/office/drawing/2014/main" id="{D5B0B7CE-70A5-E150-2658-79F4D5B94580}"/>
                </a:ext>
              </a:extLst>
            </p:cNvPr>
            <p:cNvSpPr txBox="1">
              <a:spLocks/>
            </p:cNvSpPr>
            <p:nvPr/>
          </p:nvSpPr>
          <p:spPr>
            <a:xfrm>
              <a:off x="2214083" y="5356432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2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8" name="Shape0_20180321_155333">
              <a:extLst>
                <a:ext uri="{FF2B5EF4-FFF2-40B4-BE49-F238E27FC236}">
                  <a16:creationId xmlns:a16="http://schemas.microsoft.com/office/drawing/2014/main" id="{BB63053F-CC37-4D12-5EA1-A5C3BC3C6CA8}"/>
                </a:ext>
              </a:extLst>
            </p:cNvPr>
            <p:cNvSpPr txBox="1">
              <a:spLocks/>
            </p:cNvSpPr>
            <p:nvPr/>
          </p:nvSpPr>
          <p:spPr>
            <a:xfrm>
              <a:off x="9193279" y="2777998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5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Insert your text here Insert your text here Insert your text here Insert your text here</a:t>
              </a:r>
            </a:p>
          </p:txBody>
        </p:sp>
        <p:grpSp>
          <p:nvGrpSpPr>
            <p:cNvPr id="49" name="ZenIcon1">
              <a:extLst>
                <a:ext uri="{FF2B5EF4-FFF2-40B4-BE49-F238E27FC236}">
                  <a16:creationId xmlns:a16="http://schemas.microsoft.com/office/drawing/2014/main" id="{56AD9FE4-3FF9-FE37-61EE-64D35838E4F3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1683680" y="2934056"/>
              <a:ext cx="585837" cy="585837"/>
              <a:chOff x="5712408" y="975680"/>
              <a:chExt cx="671729" cy="639391"/>
            </a:xfrm>
          </p:grpSpPr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id="{FE246DF9-B507-22ED-7490-388D47B8CB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id="{38B83B05-65EE-6AB8-F131-404C48B3A7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Freeform 28">
                <a:extLst>
                  <a:ext uri="{FF2B5EF4-FFF2-40B4-BE49-F238E27FC236}">
                    <a16:creationId xmlns:a16="http://schemas.microsoft.com/office/drawing/2014/main" id="{7A3C59AD-DD65-8115-3E8D-14A941A55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Freeform 29">
                <a:extLst>
                  <a:ext uri="{FF2B5EF4-FFF2-40B4-BE49-F238E27FC236}">
                    <a16:creationId xmlns:a16="http://schemas.microsoft.com/office/drawing/2014/main" id="{0A76D230-E9DD-AE7B-3EDF-7B4410BE3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Freeform 30">
                <a:extLst>
                  <a:ext uri="{FF2B5EF4-FFF2-40B4-BE49-F238E27FC236}">
                    <a16:creationId xmlns:a16="http://schemas.microsoft.com/office/drawing/2014/main" id="{D601EA3B-3DFD-5A77-E9A1-C8894689E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Freeform 31">
                <a:extLst>
                  <a:ext uri="{FF2B5EF4-FFF2-40B4-BE49-F238E27FC236}">
                    <a16:creationId xmlns:a16="http://schemas.microsoft.com/office/drawing/2014/main" id="{5216DEAB-FDF0-9208-2DA5-EDCB6C4E6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0" name="ZenIcon2">
              <a:extLst>
                <a:ext uri="{FF2B5EF4-FFF2-40B4-BE49-F238E27FC236}">
                  <a16:creationId xmlns:a16="http://schemas.microsoft.com/office/drawing/2014/main" id="{79F03D5E-20D0-5B22-2D49-B5FFEB9B9511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3197117" y="4192083"/>
              <a:ext cx="585837" cy="585837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51" name="ZenIcon3">
              <a:extLst>
                <a:ext uri="{FF2B5EF4-FFF2-40B4-BE49-F238E27FC236}">
                  <a16:creationId xmlns:a16="http://schemas.microsoft.com/office/drawing/2014/main" id="{B6AE74D5-743F-EA46-173B-7CA654D016A8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4716812" y="3040199"/>
              <a:ext cx="585837" cy="587295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grpSp>
          <p:nvGrpSpPr>
            <p:cNvPr id="52" name="ZenIcon4">
              <a:extLst>
                <a:ext uri="{FF2B5EF4-FFF2-40B4-BE49-F238E27FC236}">
                  <a16:creationId xmlns:a16="http://schemas.microsoft.com/office/drawing/2014/main" id="{704B8EE4-10C7-7A5E-A2AD-E6F30F1FF93C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6230250" y="4313425"/>
              <a:ext cx="585837" cy="585837"/>
              <a:chOff x="-4769427" y="-314325"/>
              <a:chExt cx="4660901" cy="4576762"/>
            </a:xfrm>
          </p:grpSpPr>
          <p:sp>
            <p:nvSpPr>
              <p:cNvPr id="61" name="Freeform 23">
                <a:extLst>
                  <a:ext uri="{FF2B5EF4-FFF2-40B4-BE49-F238E27FC236}">
                    <a16:creationId xmlns:a16="http://schemas.microsoft.com/office/drawing/2014/main" id="{D4F2FE69-6F45-AE2A-0DCD-DF00BE1BA2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509077" y="-314325"/>
                <a:ext cx="4138613" cy="3956050"/>
              </a:xfrm>
              <a:custGeom>
                <a:avLst/>
                <a:gdLst>
                  <a:gd name="T0" fmla="*/ 2128 w 2188"/>
                  <a:gd name="T1" fmla="*/ 946 h 2085"/>
                  <a:gd name="T2" fmla="*/ 2169 w 2188"/>
                  <a:gd name="T3" fmla="*/ 781 h 2085"/>
                  <a:gd name="T4" fmla="*/ 2038 w 2188"/>
                  <a:gd name="T5" fmla="*/ 671 h 2085"/>
                  <a:gd name="T6" fmla="*/ 1503 w 2188"/>
                  <a:gd name="T7" fmla="*/ 593 h 2085"/>
                  <a:gd name="T8" fmla="*/ 1478 w 2188"/>
                  <a:gd name="T9" fmla="*/ 576 h 2085"/>
                  <a:gd name="T10" fmla="*/ 1239 w 2188"/>
                  <a:gd name="T11" fmla="*/ 90 h 2085"/>
                  <a:gd name="T12" fmla="*/ 1094 w 2188"/>
                  <a:gd name="T13" fmla="*/ 0 h 2085"/>
                  <a:gd name="T14" fmla="*/ 949 w 2188"/>
                  <a:gd name="T15" fmla="*/ 90 h 2085"/>
                  <a:gd name="T16" fmla="*/ 710 w 2188"/>
                  <a:gd name="T17" fmla="*/ 576 h 2085"/>
                  <a:gd name="T18" fmla="*/ 685 w 2188"/>
                  <a:gd name="T19" fmla="*/ 593 h 2085"/>
                  <a:gd name="T20" fmla="*/ 150 w 2188"/>
                  <a:gd name="T21" fmla="*/ 671 h 2085"/>
                  <a:gd name="T22" fmla="*/ 19 w 2188"/>
                  <a:gd name="T23" fmla="*/ 781 h 2085"/>
                  <a:gd name="T24" fmla="*/ 60 w 2188"/>
                  <a:gd name="T25" fmla="*/ 946 h 2085"/>
                  <a:gd name="T26" fmla="*/ 448 w 2188"/>
                  <a:gd name="T27" fmla="*/ 1324 h 2085"/>
                  <a:gd name="T28" fmla="*/ 457 w 2188"/>
                  <a:gd name="T29" fmla="*/ 1353 h 2085"/>
                  <a:gd name="T30" fmla="*/ 366 w 2188"/>
                  <a:gd name="T31" fmla="*/ 1886 h 2085"/>
                  <a:gd name="T32" fmla="*/ 430 w 2188"/>
                  <a:gd name="T33" fmla="*/ 2044 h 2085"/>
                  <a:gd name="T34" fmla="*/ 600 w 2188"/>
                  <a:gd name="T35" fmla="*/ 2056 h 2085"/>
                  <a:gd name="T36" fmla="*/ 1079 w 2188"/>
                  <a:gd name="T37" fmla="*/ 1805 h 2085"/>
                  <a:gd name="T38" fmla="*/ 1109 w 2188"/>
                  <a:gd name="T39" fmla="*/ 1805 h 2085"/>
                  <a:gd name="T40" fmla="*/ 1588 w 2188"/>
                  <a:gd name="T41" fmla="*/ 2056 h 2085"/>
                  <a:gd name="T42" fmla="*/ 1663 w 2188"/>
                  <a:gd name="T43" fmla="*/ 2075 h 2085"/>
                  <a:gd name="T44" fmla="*/ 1758 w 2188"/>
                  <a:gd name="T45" fmla="*/ 2044 h 2085"/>
                  <a:gd name="T46" fmla="*/ 1822 w 2188"/>
                  <a:gd name="T47" fmla="*/ 1886 h 2085"/>
                  <a:gd name="T48" fmla="*/ 1731 w 2188"/>
                  <a:gd name="T49" fmla="*/ 1353 h 2085"/>
                  <a:gd name="T50" fmla="*/ 1740 w 2188"/>
                  <a:gd name="T51" fmla="*/ 1324 h 2085"/>
                  <a:gd name="T52" fmla="*/ 2128 w 2188"/>
                  <a:gd name="T53" fmla="*/ 946 h 2085"/>
                  <a:gd name="T54" fmla="*/ 1604 w 2188"/>
                  <a:gd name="T55" fmla="*/ 1375 h 2085"/>
                  <a:gd name="T56" fmla="*/ 1695 w 2188"/>
                  <a:gd name="T57" fmla="*/ 1908 h 2085"/>
                  <a:gd name="T58" fmla="*/ 1682 w 2188"/>
                  <a:gd name="T59" fmla="*/ 1940 h 2085"/>
                  <a:gd name="T60" fmla="*/ 1648 w 2188"/>
                  <a:gd name="T61" fmla="*/ 1942 h 2085"/>
                  <a:gd name="T62" fmla="*/ 1169 w 2188"/>
                  <a:gd name="T63" fmla="*/ 1690 h 2085"/>
                  <a:gd name="T64" fmla="*/ 1094 w 2188"/>
                  <a:gd name="T65" fmla="*/ 1672 h 2085"/>
                  <a:gd name="T66" fmla="*/ 1019 w 2188"/>
                  <a:gd name="T67" fmla="*/ 1690 h 2085"/>
                  <a:gd name="T68" fmla="*/ 540 w 2188"/>
                  <a:gd name="T69" fmla="*/ 1942 h 2085"/>
                  <a:gd name="T70" fmla="*/ 506 w 2188"/>
                  <a:gd name="T71" fmla="*/ 1940 h 2085"/>
                  <a:gd name="T72" fmla="*/ 493 w 2188"/>
                  <a:gd name="T73" fmla="*/ 1908 h 2085"/>
                  <a:gd name="T74" fmla="*/ 584 w 2188"/>
                  <a:gd name="T75" fmla="*/ 1375 h 2085"/>
                  <a:gd name="T76" fmla="*/ 538 w 2188"/>
                  <a:gd name="T77" fmla="*/ 1232 h 2085"/>
                  <a:gd name="T78" fmla="*/ 150 w 2188"/>
                  <a:gd name="T79" fmla="*/ 854 h 2085"/>
                  <a:gd name="T80" fmla="*/ 142 w 2188"/>
                  <a:gd name="T81" fmla="*/ 821 h 2085"/>
                  <a:gd name="T82" fmla="*/ 168 w 2188"/>
                  <a:gd name="T83" fmla="*/ 799 h 2085"/>
                  <a:gd name="T84" fmla="*/ 704 w 2188"/>
                  <a:gd name="T85" fmla="*/ 721 h 2085"/>
                  <a:gd name="T86" fmla="*/ 826 w 2188"/>
                  <a:gd name="T87" fmla="*/ 633 h 2085"/>
                  <a:gd name="T88" fmla="*/ 1065 w 2188"/>
                  <a:gd name="T89" fmla="*/ 147 h 2085"/>
                  <a:gd name="T90" fmla="*/ 1094 w 2188"/>
                  <a:gd name="T91" fmla="*/ 129 h 2085"/>
                  <a:gd name="T92" fmla="*/ 1123 w 2188"/>
                  <a:gd name="T93" fmla="*/ 147 h 2085"/>
                  <a:gd name="T94" fmla="*/ 1123 w 2188"/>
                  <a:gd name="T95" fmla="*/ 147 h 2085"/>
                  <a:gd name="T96" fmla="*/ 1363 w 2188"/>
                  <a:gd name="T97" fmla="*/ 633 h 2085"/>
                  <a:gd name="T98" fmla="*/ 1484 w 2188"/>
                  <a:gd name="T99" fmla="*/ 721 h 2085"/>
                  <a:gd name="T100" fmla="*/ 2020 w 2188"/>
                  <a:gd name="T101" fmla="*/ 799 h 2085"/>
                  <a:gd name="T102" fmla="*/ 2046 w 2188"/>
                  <a:gd name="T103" fmla="*/ 821 h 2085"/>
                  <a:gd name="T104" fmla="*/ 2038 w 2188"/>
                  <a:gd name="T105" fmla="*/ 854 h 2085"/>
                  <a:gd name="T106" fmla="*/ 1650 w 2188"/>
                  <a:gd name="T107" fmla="*/ 1232 h 2085"/>
                  <a:gd name="T108" fmla="*/ 1604 w 2188"/>
                  <a:gd name="T109" fmla="*/ 1375 h 2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88" h="2085">
                    <a:moveTo>
                      <a:pt x="2128" y="946"/>
                    </a:moveTo>
                    <a:cubicBezTo>
                      <a:pt x="2172" y="903"/>
                      <a:pt x="2188" y="840"/>
                      <a:pt x="2169" y="781"/>
                    </a:cubicBezTo>
                    <a:cubicBezTo>
                      <a:pt x="2149" y="722"/>
                      <a:pt x="2100" y="680"/>
                      <a:pt x="2038" y="671"/>
                    </a:cubicBezTo>
                    <a:cubicBezTo>
                      <a:pt x="1503" y="593"/>
                      <a:pt x="1503" y="593"/>
                      <a:pt x="1503" y="593"/>
                    </a:cubicBezTo>
                    <a:cubicBezTo>
                      <a:pt x="1492" y="592"/>
                      <a:pt x="1483" y="585"/>
                      <a:pt x="1478" y="576"/>
                    </a:cubicBezTo>
                    <a:cubicBezTo>
                      <a:pt x="1239" y="90"/>
                      <a:pt x="1239" y="90"/>
                      <a:pt x="1239" y="90"/>
                    </a:cubicBezTo>
                    <a:cubicBezTo>
                      <a:pt x="1211" y="35"/>
                      <a:pt x="1156" y="0"/>
                      <a:pt x="1094" y="0"/>
                    </a:cubicBezTo>
                    <a:cubicBezTo>
                      <a:pt x="1032" y="0"/>
                      <a:pt x="977" y="35"/>
                      <a:pt x="949" y="90"/>
                    </a:cubicBezTo>
                    <a:cubicBezTo>
                      <a:pt x="710" y="576"/>
                      <a:pt x="710" y="576"/>
                      <a:pt x="710" y="576"/>
                    </a:cubicBezTo>
                    <a:cubicBezTo>
                      <a:pt x="705" y="585"/>
                      <a:pt x="696" y="592"/>
                      <a:pt x="685" y="593"/>
                    </a:cubicBezTo>
                    <a:cubicBezTo>
                      <a:pt x="150" y="671"/>
                      <a:pt x="150" y="671"/>
                      <a:pt x="150" y="671"/>
                    </a:cubicBezTo>
                    <a:cubicBezTo>
                      <a:pt x="88" y="680"/>
                      <a:pt x="39" y="722"/>
                      <a:pt x="19" y="781"/>
                    </a:cubicBezTo>
                    <a:cubicBezTo>
                      <a:pt x="0" y="840"/>
                      <a:pt x="16" y="903"/>
                      <a:pt x="60" y="946"/>
                    </a:cubicBezTo>
                    <a:cubicBezTo>
                      <a:pt x="448" y="1324"/>
                      <a:pt x="448" y="1324"/>
                      <a:pt x="448" y="1324"/>
                    </a:cubicBezTo>
                    <a:cubicBezTo>
                      <a:pt x="455" y="1332"/>
                      <a:pt x="459" y="1342"/>
                      <a:pt x="457" y="1353"/>
                    </a:cubicBezTo>
                    <a:cubicBezTo>
                      <a:pt x="366" y="1886"/>
                      <a:pt x="366" y="1886"/>
                      <a:pt x="366" y="1886"/>
                    </a:cubicBezTo>
                    <a:cubicBezTo>
                      <a:pt x="355" y="1947"/>
                      <a:pt x="380" y="2008"/>
                      <a:pt x="430" y="2044"/>
                    </a:cubicBezTo>
                    <a:cubicBezTo>
                      <a:pt x="480" y="2081"/>
                      <a:pt x="545" y="2085"/>
                      <a:pt x="600" y="2056"/>
                    </a:cubicBezTo>
                    <a:cubicBezTo>
                      <a:pt x="1079" y="1805"/>
                      <a:pt x="1079" y="1805"/>
                      <a:pt x="1079" y="1805"/>
                    </a:cubicBezTo>
                    <a:cubicBezTo>
                      <a:pt x="1088" y="1800"/>
                      <a:pt x="1100" y="1800"/>
                      <a:pt x="1109" y="1805"/>
                    </a:cubicBezTo>
                    <a:cubicBezTo>
                      <a:pt x="1588" y="2056"/>
                      <a:pt x="1588" y="2056"/>
                      <a:pt x="1588" y="2056"/>
                    </a:cubicBezTo>
                    <a:cubicBezTo>
                      <a:pt x="1612" y="2069"/>
                      <a:pt x="1638" y="2075"/>
                      <a:pt x="1663" y="2075"/>
                    </a:cubicBezTo>
                    <a:cubicBezTo>
                      <a:pt x="1697" y="2075"/>
                      <a:pt x="1730" y="2065"/>
                      <a:pt x="1758" y="2044"/>
                    </a:cubicBezTo>
                    <a:cubicBezTo>
                      <a:pt x="1808" y="2008"/>
                      <a:pt x="1833" y="1947"/>
                      <a:pt x="1822" y="1886"/>
                    </a:cubicBezTo>
                    <a:cubicBezTo>
                      <a:pt x="1731" y="1353"/>
                      <a:pt x="1731" y="1353"/>
                      <a:pt x="1731" y="1353"/>
                    </a:cubicBezTo>
                    <a:cubicBezTo>
                      <a:pt x="1729" y="1342"/>
                      <a:pt x="1733" y="1332"/>
                      <a:pt x="1740" y="1324"/>
                    </a:cubicBezTo>
                    <a:lnTo>
                      <a:pt x="2128" y="946"/>
                    </a:lnTo>
                    <a:close/>
                    <a:moveTo>
                      <a:pt x="1604" y="1375"/>
                    </a:moveTo>
                    <a:cubicBezTo>
                      <a:pt x="1695" y="1908"/>
                      <a:pt x="1695" y="1908"/>
                      <a:pt x="1695" y="1908"/>
                    </a:cubicBezTo>
                    <a:cubicBezTo>
                      <a:pt x="1698" y="1926"/>
                      <a:pt x="1687" y="1936"/>
                      <a:pt x="1682" y="1940"/>
                    </a:cubicBezTo>
                    <a:cubicBezTo>
                      <a:pt x="1677" y="1943"/>
                      <a:pt x="1664" y="1951"/>
                      <a:pt x="1648" y="1942"/>
                    </a:cubicBezTo>
                    <a:cubicBezTo>
                      <a:pt x="1169" y="1690"/>
                      <a:pt x="1169" y="1690"/>
                      <a:pt x="1169" y="1690"/>
                    </a:cubicBezTo>
                    <a:cubicBezTo>
                      <a:pt x="1146" y="1678"/>
                      <a:pt x="1120" y="1672"/>
                      <a:pt x="1094" y="1672"/>
                    </a:cubicBezTo>
                    <a:cubicBezTo>
                      <a:pt x="1068" y="1672"/>
                      <a:pt x="1042" y="1678"/>
                      <a:pt x="1019" y="1690"/>
                    </a:cubicBezTo>
                    <a:cubicBezTo>
                      <a:pt x="540" y="1942"/>
                      <a:pt x="540" y="1942"/>
                      <a:pt x="540" y="1942"/>
                    </a:cubicBezTo>
                    <a:cubicBezTo>
                      <a:pt x="524" y="1951"/>
                      <a:pt x="511" y="1943"/>
                      <a:pt x="506" y="1940"/>
                    </a:cubicBezTo>
                    <a:cubicBezTo>
                      <a:pt x="501" y="1936"/>
                      <a:pt x="490" y="1926"/>
                      <a:pt x="493" y="1908"/>
                    </a:cubicBezTo>
                    <a:cubicBezTo>
                      <a:pt x="584" y="1375"/>
                      <a:pt x="584" y="1375"/>
                      <a:pt x="584" y="1375"/>
                    </a:cubicBezTo>
                    <a:cubicBezTo>
                      <a:pt x="593" y="1322"/>
                      <a:pt x="576" y="1269"/>
                      <a:pt x="538" y="1232"/>
                    </a:cubicBezTo>
                    <a:cubicBezTo>
                      <a:pt x="150" y="854"/>
                      <a:pt x="150" y="854"/>
                      <a:pt x="150" y="854"/>
                    </a:cubicBezTo>
                    <a:cubicBezTo>
                      <a:pt x="137" y="841"/>
                      <a:pt x="140" y="827"/>
                      <a:pt x="142" y="821"/>
                    </a:cubicBezTo>
                    <a:cubicBezTo>
                      <a:pt x="144" y="815"/>
                      <a:pt x="150" y="801"/>
                      <a:pt x="168" y="799"/>
                    </a:cubicBezTo>
                    <a:cubicBezTo>
                      <a:pt x="704" y="721"/>
                      <a:pt x="704" y="721"/>
                      <a:pt x="704" y="721"/>
                    </a:cubicBezTo>
                    <a:cubicBezTo>
                      <a:pt x="757" y="713"/>
                      <a:pt x="802" y="680"/>
                      <a:pt x="826" y="633"/>
                    </a:cubicBezTo>
                    <a:cubicBezTo>
                      <a:pt x="1065" y="147"/>
                      <a:pt x="1065" y="147"/>
                      <a:pt x="1065" y="147"/>
                    </a:cubicBezTo>
                    <a:cubicBezTo>
                      <a:pt x="1073" y="131"/>
                      <a:pt x="1088" y="129"/>
                      <a:pt x="1094" y="129"/>
                    </a:cubicBezTo>
                    <a:cubicBezTo>
                      <a:pt x="1100" y="129"/>
                      <a:pt x="1115" y="131"/>
                      <a:pt x="1123" y="147"/>
                    </a:cubicBezTo>
                    <a:cubicBezTo>
                      <a:pt x="1123" y="147"/>
                      <a:pt x="1123" y="147"/>
                      <a:pt x="1123" y="147"/>
                    </a:cubicBezTo>
                    <a:cubicBezTo>
                      <a:pt x="1363" y="633"/>
                      <a:pt x="1363" y="633"/>
                      <a:pt x="1363" y="633"/>
                    </a:cubicBezTo>
                    <a:cubicBezTo>
                      <a:pt x="1386" y="680"/>
                      <a:pt x="1431" y="713"/>
                      <a:pt x="1484" y="721"/>
                    </a:cubicBezTo>
                    <a:cubicBezTo>
                      <a:pt x="2020" y="799"/>
                      <a:pt x="2020" y="799"/>
                      <a:pt x="2020" y="799"/>
                    </a:cubicBezTo>
                    <a:cubicBezTo>
                      <a:pt x="2038" y="801"/>
                      <a:pt x="2044" y="815"/>
                      <a:pt x="2046" y="821"/>
                    </a:cubicBezTo>
                    <a:cubicBezTo>
                      <a:pt x="2048" y="827"/>
                      <a:pt x="2051" y="841"/>
                      <a:pt x="2038" y="854"/>
                    </a:cubicBezTo>
                    <a:cubicBezTo>
                      <a:pt x="1650" y="1232"/>
                      <a:pt x="1650" y="1232"/>
                      <a:pt x="1650" y="1232"/>
                    </a:cubicBezTo>
                    <a:cubicBezTo>
                      <a:pt x="1612" y="1269"/>
                      <a:pt x="1595" y="1322"/>
                      <a:pt x="1604" y="13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2" name="Freeform 24">
                <a:extLst>
                  <a:ext uri="{FF2B5EF4-FFF2-40B4-BE49-F238E27FC236}">
                    <a16:creationId xmlns:a16="http://schemas.microsoft.com/office/drawing/2014/main" id="{0704947B-43C8-9245-9965-465129915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51539" y="-182563"/>
                <a:ext cx="406400" cy="439738"/>
              </a:xfrm>
              <a:custGeom>
                <a:avLst/>
                <a:gdLst>
                  <a:gd name="T0" fmla="*/ 179 w 215"/>
                  <a:gd name="T1" fmla="*/ 21 h 232"/>
                  <a:gd name="T2" fmla="*/ 89 w 215"/>
                  <a:gd name="T3" fmla="*/ 35 h 232"/>
                  <a:gd name="T4" fmla="*/ 21 w 215"/>
                  <a:gd name="T5" fmla="*/ 130 h 232"/>
                  <a:gd name="T6" fmla="*/ 35 w 215"/>
                  <a:gd name="T7" fmla="*/ 220 h 232"/>
                  <a:gd name="T8" fmla="*/ 73 w 215"/>
                  <a:gd name="T9" fmla="*/ 232 h 232"/>
                  <a:gd name="T10" fmla="*/ 125 w 215"/>
                  <a:gd name="T11" fmla="*/ 206 h 232"/>
                  <a:gd name="T12" fmla="*/ 194 w 215"/>
                  <a:gd name="T13" fmla="*/ 111 h 232"/>
                  <a:gd name="T14" fmla="*/ 179 w 215"/>
                  <a:gd name="T15" fmla="*/ 2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79" y="21"/>
                    </a:moveTo>
                    <a:cubicBezTo>
                      <a:pt x="151" y="0"/>
                      <a:pt x="110" y="7"/>
                      <a:pt x="89" y="35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0" y="159"/>
                      <a:pt x="6" y="199"/>
                      <a:pt x="35" y="220"/>
                    </a:cubicBezTo>
                    <a:cubicBezTo>
                      <a:pt x="46" y="228"/>
                      <a:pt x="60" y="232"/>
                      <a:pt x="73" y="232"/>
                    </a:cubicBezTo>
                    <a:cubicBezTo>
                      <a:pt x="93" y="232"/>
                      <a:pt x="113" y="223"/>
                      <a:pt x="125" y="206"/>
                    </a:cubicBezTo>
                    <a:cubicBezTo>
                      <a:pt x="194" y="111"/>
                      <a:pt x="194" y="111"/>
                      <a:pt x="194" y="111"/>
                    </a:cubicBezTo>
                    <a:cubicBezTo>
                      <a:pt x="215" y="83"/>
                      <a:pt x="208" y="42"/>
                      <a:pt x="17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3" name="Freeform 25">
                <a:extLst>
                  <a:ext uri="{FF2B5EF4-FFF2-40B4-BE49-F238E27FC236}">
                    <a16:creationId xmlns:a16="http://schemas.microsoft.com/office/drawing/2014/main" id="{F2738287-A7DA-9F31-803D-1E0C49BBF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34402" y="-182563"/>
                <a:ext cx="407988" cy="439738"/>
              </a:xfrm>
              <a:custGeom>
                <a:avLst/>
                <a:gdLst>
                  <a:gd name="T0" fmla="*/ 194 w 215"/>
                  <a:gd name="T1" fmla="*/ 129 h 232"/>
                  <a:gd name="T2" fmla="*/ 126 w 215"/>
                  <a:gd name="T3" fmla="*/ 35 h 232"/>
                  <a:gd name="T4" fmla="*/ 35 w 215"/>
                  <a:gd name="T5" fmla="*/ 21 h 232"/>
                  <a:gd name="T6" fmla="*/ 21 w 215"/>
                  <a:gd name="T7" fmla="*/ 111 h 232"/>
                  <a:gd name="T8" fmla="*/ 90 w 215"/>
                  <a:gd name="T9" fmla="*/ 205 h 232"/>
                  <a:gd name="T10" fmla="*/ 142 w 215"/>
                  <a:gd name="T11" fmla="*/ 232 h 232"/>
                  <a:gd name="T12" fmla="*/ 180 w 215"/>
                  <a:gd name="T13" fmla="*/ 220 h 232"/>
                  <a:gd name="T14" fmla="*/ 194 w 215"/>
                  <a:gd name="T15" fmla="*/ 12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94" y="129"/>
                    </a:moveTo>
                    <a:cubicBezTo>
                      <a:pt x="126" y="35"/>
                      <a:pt x="126" y="35"/>
                      <a:pt x="126" y="35"/>
                    </a:cubicBezTo>
                    <a:cubicBezTo>
                      <a:pt x="105" y="6"/>
                      <a:pt x="64" y="0"/>
                      <a:pt x="35" y="21"/>
                    </a:cubicBezTo>
                    <a:cubicBezTo>
                      <a:pt x="6" y="42"/>
                      <a:pt x="0" y="82"/>
                      <a:pt x="21" y="111"/>
                    </a:cubicBezTo>
                    <a:cubicBezTo>
                      <a:pt x="90" y="205"/>
                      <a:pt x="90" y="205"/>
                      <a:pt x="90" y="205"/>
                    </a:cubicBezTo>
                    <a:cubicBezTo>
                      <a:pt x="102" y="223"/>
                      <a:pt x="122" y="232"/>
                      <a:pt x="142" y="232"/>
                    </a:cubicBezTo>
                    <a:cubicBezTo>
                      <a:pt x="155" y="232"/>
                      <a:pt x="168" y="228"/>
                      <a:pt x="180" y="220"/>
                    </a:cubicBezTo>
                    <a:cubicBezTo>
                      <a:pt x="209" y="199"/>
                      <a:pt x="215" y="158"/>
                      <a:pt x="194" y="1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4" name="Freeform 26">
                <a:extLst>
                  <a:ext uri="{FF2B5EF4-FFF2-40B4-BE49-F238E27FC236}">
                    <a16:creationId xmlns:a16="http://schemas.microsoft.com/office/drawing/2014/main" id="{8D342D65-A187-F7A6-1248-EA4BB4EF9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69427" y="2336800"/>
                <a:ext cx="484188" cy="328613"/>
              </a:xfrm>
              <a:custGeom>
                <a:avLst/>
                <a:gdLst>
                  <a:gd name="T0" fmla="*/ 245 w 256"/>
                  <a:gd name="T1" fmla="*/ 52 h 173"/>
                  <a:gd name="T2" fmla="*/ 164 w 256"/>
                  <a:gd name="T3" fmla="*/ 11 h 173"/>
                  <a:gd name="T4" fmla="*/ 53 w 256"/>
                  <a:gd name="T5" fmla="*/ 47 h 173"/>
                  <a:gd name="T6" fmla="*/ 11 w 256"/>
                  <a:gd name="T7" fmla="*/ 128 h 173"/>
                  <a:gd name="T8" fmla="*/ 73 w 256"/>
                  <a:gd name="T9" fmla="*/ 173 h 173"/>
                  <a:gd name="T10" fmla="*/ 93 w 256"/>
                  <a:gd name="T11" fmla="*/ 169 h 173"/>
                  <a:gd name="T12" fmla="*/ 203 w 256"/>
                  <a:gd name="T13" fmla="*/ 133 h 173"/>
                  <a:gd name="T14" fmla="*/ 245 w 256"/>
                  <a:gd name="T15" fmla="*/ 5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45" y="52"/>
                    </a:moveTo>
                    <a:cubicBezTo>
                      <a:pt x="234" y="18"/>
                      <a:pt x="197" y="0"/>
                      <a:pt x="164" y="11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19" y="58"/>
                      <a:pt x="0" y="94"/>
                      <a:pt x="11" y="128"/>
                    </a:cubicBezTo>
                    <a:cubicBezTo>
                      <a:pt x="20" y="155"/>
                      <a:pt x="45" y="173"/>
                      <a:pt x="73" y="173"/>
                    </a:cubicBezTo>
                    <a:cubicBezTo>
                      <a:pt x="79" y="173"/>
                      <a:pt x="86" y="172"/>
                      <a:pt x="93" y="169"/>
                    </a:cubicBezTo>
                    <a:cubicBezTo>
                      <a:pt x="203" y="133"/>
                      <a:pt x="203" y="133"/>
                      <a:pt x="203" y="133"/>
                    </a:cubicBezTo>
                    <a:cubicBezTo>
                      <a:pt x="237" y="122"/>
                      <a:pt x="256" y="86"/>
                      <a:pt x="245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5" name="Freeform 27">
                <a:extLst>
                  <a:ext uri="{FF2B5EF4-FFF2-40B4-BE49-F238E27FC236}">
                    <a16:creationId xmlns:a16="http://schemas.microsoft.com/office/drawing/2014/main" id="{E36D8C6F-C316-BA53-64F1-D138D656C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62802" y="3795712"/>
                <a:ext cx="246063" cy="466725"/>
              </a:xfrm>
              <a:custGeom>
                <a:avLst/>
                <a:gdLst>
                  <a:gd name="T0" fmla="*/ 65 w 130"/>
                  <a:gd name="T1" fmla="*/ 0 h 246"/>
                  <a:gd name="T2" fmla="*/ 0 w 130"/>
                  <a:gd name="T3" fmla="*/ 65 h 246"/>
                  <a:gd name="T4" fmla="*/ 0 w 130"/>
                  <a:gd name="T5" fmla="*/ 181 h 246"/>
                  <a:gd name="T6" fmla="*/ 65 w 130"/>
                  <a:gd name="T7" fmla="*/ 246 h 246"/>
                  <a:gd name="T8" fmla="*/ 130 w 130"/>
                  <a:gd name="T9" fmla="*/ 181 h 246"/>
                  <a:gd name="T10" fmla="*/ 130 w 130"/>
                  <a:gd name="T11" fmla="*/ 65 h 246"/>
                  <a:gd name="T12" fmla="*/ 65 w 130"/>
                  <a:gd name="T1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246"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17"/>
                      <a:pt x="29" y="246"/>
                      <a:pt x="65" y="246"/>
                    </a:cubicBezTo>
                    <a:cubicBezTo>
                      <a:pt x="101" y="246"/>
                      <a:pt x="130" y="217"/>
                      <a:pt x="130" y="181"/>
                    </a:cubicBezTo>
                    <a:cubicBezTo>
                      <a:pt x="130" y="65"/>
                      <a:pt x="130" y="65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B9A73983-7A8E-6DFB-C6D2-A790F4122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714" y="2336800"/>
                <a:ext cx="484188" cy="328613"/>
              </a:xfrm>
              <a:custGeom>
                <a:avLst/>
                <a:gdLst>
                  <a:gd name="T0" fmla="*/ 203 w 256"/>
                  <a:gd name="T1" fmla="*/ 47 h 173"/>
                  <a:gd name="T2" fmla="*/ 92 w 256"/>
                  <a:gd name="T3" fmla="*/ 11 h 173"/>
                  <a:gd name="T4" fmla="*/ 11 w 256"/>
                  <a:gd name="T5" fmla="*/ 52 h 173"/>
                  <a:gd name="T6" fmla="*/ 53 w 256"/>
                  <a:gd name="T7" fmla="*/ 133 h 173"/>
                  <a:gd name="T8" fmla="*/ 163 w 256"/>
                  <a:gd name="T9" fmla="*/ 170 h 173"/>
                  <a:gd name="T10" fmla="*/ 183 w 256"/>
                  <a:gd name="T11" fmla="*/ 173 h 173"/>
                  <a:gd name="T12" fmla="*/ 245 w 256"/>
                  <a:gd name="T13" fmla="*/ 128 h 173"/>
                  <a:gd name="T14" fmla="*/ 203 w 256"/>
                  <a:gd name="T15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03" y="47"/>
                    </a:moveTo>
                    <a:cubicBezTo>
                      <a:pt x="92" y="11"/>
                      <a:pt x="92" y="11"/>
                      <a:pt x="92" y="11"/>
                    </a:cubicBezTo>
                    <a:cubicBezTo>
                      <a:pt x="59" y="0"/>
                      <a:pt x="22" y="18"/>
                      <a:pt x="11" y="52"/>
                    </a:cubicBezTo>
                    <a:cubicBezTo>
                      <a:pt x="0" y="86"/>
                      <a:pt x="19" y="122"/>
                      <a:pt x="53" y="133"/>
                    </a:cubicBezTo>
                    <a:cubicBezTo>
                      <a:pt x="163" y="170"/>
                      <a:pt x="163" y="170"/>
                      <a:pt x="163" y="170"/>
                    </a:cubicBezTo>
                    <a:cubicBezTo>
                      <a:pt x="170" y="172"/>
                      <a:pt x="177" y="173"/>
                      <a:pt x="183" y="173"/>
                    </a:cubicBezTo>
                    <a:cubicBezTo>
                      <a:pt x="211" y="173"/>
                      <a:pt x="236" y="155"/>
                      <a:pt x="245" y="128"/>
                    </a:cubicBezTo>
                    <a:cubicBezTo>
                      <a:pt x="256" y="94"/>
                      <a:pt x="237" y="58"/>
                      <a:pt x="203" y="4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53" name="ZenIcon1">
              <a:extLst>
                <a:ext uri="{FF2B5EF4-FFF2-40B4-BE49-F238E27FC236}">
                  <a16:creationId xmlns:a16="http://schemas.microsoft.com/office/drawing/2014/main" id="{77892283-A248-F90F-21C6-CEF9086E9EF7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7679841" y="3038316"/>
              <a:ext cx="585837" cy="585837"/>
              <a:chOff x="5712408" y="975680"/>
              <a:chExt cx="671729" cy="639391"/>
            </a:xfrm>
          </p:grpSpPr>
          <p:sp>
            <p:nvSpPr>
              <p:cNvPr id="54" name="Freeform 26">
                <a:extLst>
                  <a:ext uri="{FF2B5EF4-FFF2-40B4-BE49-F238E27FC236}">
                    <a16:creationId xmlns:a16="http://schemas.microsoft.com/office/drawing/2014/main" id="{0B8179CC-FC77-C5C8-CBB1-AA0A22CC7A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6" name="Freeform 27">
                <a:extLst>
                  <a:ext uri="{FF2B5EF4-FFF2-40B4-BE49-F238E27FC236}">
                    <a16:creationId xmlns:a16="http://schemas.microsoft.com/office/drawing/2014/main" id="{C3F75767-FF6A-81E5-FEE0-AE75644BB8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reeform 28">
                <a:extLst>
                  <a:ext uri="{FF2B5EF4-FFF2-40B4-BE49-F238E27FC236}">
                    <a16:creationId xmlns:a16="http://schemas.microsoft.com/office/drawing/2014/main" id="{587C4866-32BE-91D2-BB27-AADEBA88A3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id="{A99C2A5E-5834-F908-B6AF-C7C97DA8F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id="{DC2C999E-D66F-9B90-04B8-EFDB3D275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id="{7CC10918-ABB9-49CF-79FA-549219F19F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1415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1</TotalTime>
  <Words>106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 Light</vt:lpstr>
      <vt:lpstr>Roboto</vt:lpstr>
      <vt:lpstr>Wingdings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27</cp:revision>
  <dcterms:created xsi:type="dcterms:W3CDTF">2021-03-31T02:49:57Z</dcterms:created>
  <dcterms:modified xsi:type="dcterms:W3CDTF">2025-10-16T11:36:25Z</dcterms:modified>
  <cp:category/>
</cp:coreProperties>
</file>